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</p:sldMasterIdLst>
  <p:notesMasterIdLst>
    <p:notesMasterId r:id="rId3"/>
  </p:notesMasterIdLst>
  <p:handoutMasterIdLst>
    <p:handoutMasterId r:id="rId4"/>
  </p:handoutMasterIdLst>
  <p:sldIdLst>
    <p:sldId id="359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540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782" y="8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6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6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9C59B24C-EB43-46D8-BEEE-EE94525D8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>
                        <a:extLst>
                          <a:ext uri="{FF2B5EF4-FFF2-40B4-BE49-F238E27FC236}">
                            <a16:creationId xmlns:a16="http://schemas.microsoft.com/office/drawing/2014/main" id="{9C59B24C-EB43-46D8-BEEE-EE94525D8B7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2A10C7-D71D-4C11-9CE2-F9B94E8A0ACE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2AB926E4-4BEB-4A3D-A11F-A4A1CC3778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875507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4564" y="1489076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4754564" y="3844925"/>
            <a:ext cx="388620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065717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9288" y="3844925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51388" y="3844925"/>
            <a:ext cx="3889375" cy="213994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04274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038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1388" y="1489076"/>
            <a:ext cx="3889375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51388" y="3844925"/>
            <a:ext cx="3889375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07058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9813" y="1489075"/>
            <a:ext cx="2520950" cy="180339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51238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9381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593196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1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647701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8613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38613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6124575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80896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47699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384055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6120410" y="1484313"/>
            <a:ext cx="2520354" cy="2144712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384550" y="3844925"/>
            <a:ext cx="2519363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6119813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464347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>
            <a:extLst>
              <a:ext uri="{FF2B5EF4-FFF2-40B4-BE49-F238E27FC236}">
                <a16:creationId xmlns:a16="http://schemas.microsoft.com/office/drawing/2014/main" id="{58CC21B4-4357-4C4A-8EB9-63D9313463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>
            <a:extLst>
              <a:ext uri="{FF2B5EF4-FFF2-40B4-BE49-F238E27FC236}">
                <a16:creationId xmlns:a16="http://schemas.microsoft.com/office/drawing/2014/main" id="{E414036E-70A7-46DB-9200-9ED435728F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>
                        <a:extLst>
                          <a:ext uri="{FF2B5EF4-FFF2-40B4-BE49-F238E27FC236}">
                            <a16:creationId xmlns:a16="http://schemas.microsoft.com/office/drawing/2014/main" id="{E414036E-70A7-46DB-9200-9ED435728F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19913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6662603A-E5E5-4962-A7E9-98BDF8B03E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6662603A-E5E5-4962-A7E9-98BDF8B03E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E6DB0-F588-451A-B056-CBF8C8421A80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A5C8E0-CDDA-436A-91F8-C903D03A3F22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60451A36-7B2B-4EF1-857D-3ED175380F69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20BC799A-8D74-4531-A751-1F5C1F94675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632B269-EC55-43A6-952B-13604E47F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20F7B84-FBA2-4A84-B9DD-0564F18058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BE63E81-0CDD-456E-8361-F2A4B06956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4F425AE-0637-4A5C-8AD8-E3594A43B828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6CB09F99-8107-4563-8E3E-E25C954CA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9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6CB09F99-8107-4563-8E3E-E25C954CA8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90724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>
            <a:extLst>
              <a:ext uri="{FF2B5EF4-FFF2-40B4-BE49-F238E27FC236}">
                <a16:creationId xmlns:a16="http://schemas.microsoft.com/office/drawing/2014/main" id="{48B6064E-DAF9-4F78-9201-6C88827D9E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>
            <a:extLst>
              <a:ext uri="{FF2B5EF4-FFF2-40B4-BE49-F238E27FC236}">
                <a16:creationId xmlns:a16="http://schemas.microsoft.com/office/drawing/2014/main" id="{4D273C6C-C475-42C8-ABFB-284B2C0B0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>
                        <a:extLst>
                          <a:ext uri="{FF2B5EF4-FFF2-40B4-BE49-F238E27FC236}">
                            <a16:creationId xmlns:a16="http://schemas.microsoft.com/office/drawing/2014/main" id="{4D273C6C-C475-42C8-ABFB-284B2C0B04E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>
            <a:extLst>
              <a:ext uri="{FF2B5EF4-FFF2-40B4-BE49-F238E27FC236}">
                <a16:creationId xmlns:a16="http://schemas.microsoft.com/office/drawing/2014/main" id="{61AB32D3-B720-4DC5-B705-6C82C84A97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00" b="1">
                <a:solidFill>
                  <a:srgbClr val="FFFFFF"/>
                </a:solidFill>
              </a:rPr>
              <a:t>performance</a:t>
            </a:r>
            <a:r>
              <a:rPr lang="en-GB" altLang="fr-FR" sz="90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00" b="1">
                <a:solidFill>
                  <a:srgbClr val="FFFFFF"/>
                </a:solidFill>
              </a:rPr>
              <a:t>understand</a:t>
            </a:r>
            <a:r>
              <a:rPr lang="en-GB" altLang="fr-FR" sz="90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>
            <a:extLst>
              <a:ext uri="{FF2B5EF4-FFF2-40B4-BE49-F238E27FC236}">
                <a16:creationId xmlns:a16="http://schemas.microsoft.com/office/drawing/2014/main" id="{10DA50E8-C7BC-433D-A6BF-6F60B112302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                </a:t>
            </a:r>
            <a:r>
              <a:rPr lang="en-GB" altLang="fr-FR" sz="900">
                <a:solidFill>
                  <a:srgbClr val="FFFFFF"/>
                </a:solidFill>
              </a:rPr>
              <a:t>We call it </a:t>
            </a:r>
            <a:r>
              <a:rPr lang="en-GB" altLang="fr-FR" sz="1000" b="1">
                <a:solidFill>
                  <a:srgbClr val="FFFFFF"/>
                </a:solidFill>
              </a:rPr>
              <a:t>Performance through Understanding.</a:t>
            </a:r>
            <a:endParaRPr lang="en-GB" altLang="fr-FR" b="1">
              <a:solidFill>
                <a:srgbClr val="FFFFF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8C12912-820C-4F4F-BEA8-F8FDF7C6A82B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5503519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4" hidden="1">
            <a:extLst>
              <a:ext uri="{FF2B5EF4-FFF2-40B4-BE49-F238E27FC236}">
                <a16:creationId xmlns:a16="http://schemas.microsoft.com/office/drawing/2014/main" id="{48704EED-52D7-483F-A682-D092004411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4" hidden="1">
                        <a:extLst>
                          <a:ext uri="{FF2B5EF4-FFF2-40B4-BE49-F238E27FC236}">
                            <a16:creationId xmlns:a16="http://schemas.microsoft.com/office/drawing/2014/main" id="{48704EED-52D7-483F-A682-D092004411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C771F7E-2490-4E30-BFEE-C46CA516DED6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err="1">
                <a:solidFill>
                  <a:srgbClr val="7F7F7F"/>
                </a:solidFill>
              </a:rPr>
              <a:t>Sidel</a:t>
            </a:r>
            <a:r>
              <a:rPr lang="en-GB" dirty="0">
                <a:solidFill>
                  <a:srgbClr val="7F7F7F"/>
                </a:solidFill>
              </a:rPr>
              <a:t> Services: Line Improvement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21963516-7834-4B15-A3B2-1CD7AC2CE8FE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40C9DE48-EFAC-4355-8D44-F38A47CE3C1F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9C6B3849-CB19-4810-AADE-A14757B1210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1D217B92-63CB-46C9-9B85-84BF03D4C9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92A88D7E-6700-4C58-88EE-D301A85357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46956 w 501"/>
                <a:gd name="T1" fmla="*/ 129026 h 429"/>
                <a:gd name="T2" fmla="*/ 138649 w 501"/>
                <a:gd name="T3" fmla="*/ 118267 h 429"/>
                <a:gd name="T4" fmla="*/ 135577 w 501"/>
                <a:gd name="T5" fmla="*/ 114211 h 429"/>
                <a:gd name="T6" fmla="*/ 117884 w 501"/>
                <a:gd name="T7" fmla="*/ 105865 h 429"/>
                <a:gd name="T8" fmla="*/ 94975 w 501"/>
                <a:gd name="T9" fmla="*/ 129026 h 429"/>
                <a:gd name="T10" fmla="*/ 117884 w 501"/>
                <a:gd name="T11" fmla="*/ 151686 h 429"/>
                <a:gd name="T12" fmla="*/ 135577 w 501"/>
                <a:gd name="T13" fmla="*/ 143485 h 429"/>
                <a:gd name="T14" fmla="*/ 138649 w 501"/>
                <a:gd name="T15" fmla="*/ 139367 h 429"/>
                <a:gd name="T16" fmla="*/ 146956 w 501"/>
                <a:gd name="T17" fmla="*/ 129026 h 429"/>
                <a:gd name="T18" fmla="*/ 66366 w 501"/>
                <a:gd name="T19" fmla="*/ 128501 h 429"/>
                <a:gd name="T20" fmla="*/ 117884 w 501"/>
                <a:gd name="T21" fmla="*/ 77371 h 429"/>
                <a:gd name="T22" fmla="*/ 157237 w 501"/>
                <a:gd name="T23" fmla="*/ 95541 h 429"/>
                <a:gd name="T24" fmla="*/ 157528 w 501"/>
                <a:gd name="T25" fmla="*/ 96410 h 429"/>
                <a:gd name="T26" fmla="*/ 158420 w 501"/>
                <a:gd name="T27" fmla="*/ 96042 h 429"/>
                <a:gd name="T28" fmla="*/ 102246 w 501"/>
                <a:gd name="T29" fmla="*/ 0 h 429"/>
                <a:gd name="T30" fmla="*/ 0 w 501"/>
                <a:gd name="T31" fmla="*/ 176845 h 429"/>
                <a:gd name="T32" fmla="*/ 99821 w 501"/>
                <a:gd name="T33" fmla="*/ 176845 h 429"/>
                <a:gd name="T34" fmla="*/ 100350 w 501"/>
                <a:gd name="T35" fmla="*/ 176476 h 429"/>
                <a:gd name="T36" fmla="*/ 90002 w 501"/>
                <a:gd name="T37" fmla="*/ 171983 h 429"/>
                <a:gd name="T38" fmla="*/ 66366 w 501"/>
                <a:gd name="T39" fmla="*/ 128501 h 429"/>
                <a:gd name="T40" fmla="*/ 202975 w 501"/>
                <a:gd name="T41" fmla="*/ 175944 h 429"/>
                <a:gd name="T42" fmla="*/ 192404 w 501"/>
                <a:gd name="T43" fmla="*/ 173134 h 429"/>
                <a:gd name="T44" fmla="*/ 165663 w 501"/>
                <a:gd name="T45" fmla="*/ 151162 h 429"/>
                <a:gd name="T46" fmla="*/ 155471 w 501"/>
                <a:gd name="T47" fmla="*/ 164088 h 429"/>
                <a:gd name="T48" fmla="*/ 136253 w 501"/>
                <a:gd name="T49" fmla="*/ 176476 h 429"/>
                <a:gd name="T50" fmla="*/ 136253 w 501"/>
                <a:gd name="T51" fmla="*/ 176845 h 429"/>
                <a:gd name="T52" fmla="*/ 205027 w 501"/>
                <a:gd name="T53" fmla="*/ 176845 h 429"/>
                <a:gd name="T54" fmla="*/ 205027 w 501"/>
                <a:gd name="T55" fmla="*/ 176476 h 429"/>
                <a:gd name="T56" fmla="*/ 202975 w 501"/>
                <a:gd name="T57" fmla="*/ 17594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3763BD11-036F-4534-B914-C4A35B2C8D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70352 w 937"/>
                <a:gd name="T1" fmla="*/ 55712 h 326"/>
                <a:gd name="T2" fmla="*/ 32040 w 937"/>
                <a:gd name="T3" fmla="*/ 36476 h 326"/>
                <a:gd name="T4" fmla="*/ 51343 w 937"/>
                <a:gd name="T5" fmla="*/ 21690 h 326"/>
                <a:gd name="T6" fmla="*/ 76372 w 937"/>
                <a:gd name="T7" fmla="*/ 40954 h 326"/>
                <a:gd name="T8" fmla="*/ 104086 w 937"/>
                <a:gd name="T9" fmla="*/ 40954 h 326"/>
                <a:gd name="T10" fmla="*/ 52581 w 937"/>
                <a:gd name="T11" fmla="*/ 0 h 326"/>
                <a:gd name="T12" fmla="*/ 4867 w 937"/>
                <a:gd name="T13" fmla="*/ 38528 h 326"/>
                <a:gd name="T14" fmla="*/ 42794 w 937"/>
                <a:gd name="T15" fmla="*/ 74981 h 326"/>
                <a:gd name="T16" fmla="*/ 80949 w 937"/>
                <a:gd name="T17" fmla="*/ 96023 h 326"/>
                <a:gd name="T18" fmla="*/ 55832 w 937"/>
                <a:gd name="T19" fmla="*/ 111952 h 326"/>
                <a:gd name="T20" fmla="*/ 27464 w 937"/>
                <a:gd name="T21" fmla="*/ 88208 h 326"/>
                <a:gd name="T22" fmla="*/ 369 w 937"/>
                <a:gd name="T23" fmla="*/ 88208 h 326"/>
                <a:gd name="T24" fmla="*/ 55166 w 937"/>
                <a:gd name="T25" fmla="*/ 133708 h 326"/>
                <a:gd name="T26" fmla="*/ 108044 w 937"/>
                <a:gd name="T27" fmla="*/ 92688 h 326"/>
                <a:gd name="T28" fmla="*/ 70352 w 937"/>
                <a:gd name="T29" fmla="*/ 55712 h 326"/>
                <a:gd name="T30" fmla="*/ 222430 w 937"/>
                <a:gd name="T31" fmla="*/ 49703 h 326"/>
                <a:gd name="T32" fmla="*/ 222430 w 937"/>
                <a:gd name="T33" fmla="*/ 49703 h 326"/>
                <a:gd name="T34" fmla="*/ 194598 w 937"/>
                <a:gd name="T35" fmla="*/ 35576 h 326"/>
                <a:gd name="T36" fmla="*/ 153860 w 937"/>
                <a:gd name="T37" fmla="*/ 83661 h 326"/>
                <a:gd name="T38" fmla="*/ 195257 w 937"/>
                <a:gd name="T39" fmla="*/ 133364 h 326"/>
                <a:gd name="T40" fmla="*/ 223314 w 937"/>
                <a:gd name="T41" fmla="*/ 118946 h 326"/>
                <a:gd name="T42" fmla="*/ 223621 w 937"/>
                <a:gd name="T43" fmla="*/ 118946 h 326"/>
                <a:gd name="T44" fmla="*/ 223621 w 937"/>
                <a:gd name="T45" fmla="*/ 130780 h 326"/>
                <a:gd name="T46" fmla="*/ 247996 w 937"/>
                <a:gd name="T47" fmla="*/ 130780 h 326"/>
                <a:gd name="T48" fmla="*/ 247996 w 937"/>
                <a:gd name="T49" fmla="*/ 3293 h 326"/>
                <a:gd name="T50" fmla="*/ 222430 w 937"/>
                <a:gd name="T51" fmla="*/ 3293 h 326"/>
                <a:gd name="T52" fmla="*/ 222430 w 937"/>
                <a:gd name="T53" fmla="*/ 49703 h 326"/>
                <a:gd name="T54" fmla="*/ 201521 w 937"/>
                <a:gd name="T55" fmla="*/ 114099 h 326"/>
                <a:gd name="T56" fmla="*/ 179268 w 937"/>
                <a:gd name="T57" fmla="*/ 84530 h 326"/>
                <a:gd name="T58" fmla="*/ 201521 w 937"/>
                <a:gd name="T59" fmla="*/ 55053 h 326"/>
                <a:gd name="T60" fmla="*/ 223314 w 937"/>
                <a:gd name="T61" fmla="*/ 84029 h 326"/>
                <a:gd name="T62" fmla="*/ 201521 w 937"/>
                <a:gd name="T63" fmla="*/ 114099 h 326"/>
                <a:gd name="T64" fmla="*/ 304698 w 937"/>
                <a:gd name="T65" fmla="*/ 35576 h 326"/>
                <a:gd name="T66" fmla="*/ 257403 w 937"/>
                <a:gd name="T67" fmla="*/ 84530 h 326"/>
                <a:gd name="T68" fmla="*/ 304698 w 937"/>
                <a:gd name="T69" fmla="*/ 133364 h 326"/>
                <a:gd name="T70" fmla="*/ 347877 w 937"/>
                <a:gd name="T71" fmla="*/ 102122 h 326"/>
                <a:gd name="T72" fmla="*/ 325607 w 937"/>
                <a:gd name="T73" fmla="*/ 102122 h 326"/>
                <a:gd name="T74" fmla="*/ 305598 w 937"/>
                <a:gd name="T75" fmla="*/ 114099 h 326"/>
                <a:gd name="T76" fmla="*/ 282473 w 937"/>
                <a:gd name="T77" fmla="*/ 90633 h 326"/>
                <a:gd name="T78" fmla="*/ 349486 w 937"/>
                <a:gd name="T79" fmla="*/ 90633 h 326"/>
                <a:gd name="T80" fmla="*/ 304698 w 937"/>
                <a:gd name="T81" fmla="*/ 35576 h 326"/>
                <a:gd name="T82" fmla="*/ 282473 w 937"/>
                <a:gd name="T83" fmla="*/ 74702 h 326"/>
                <a:gd name="T84" fmla="*/ 303895 w 937"/>
                <a:gd name="T85" fmla="*/ 55053 h 326"/>
                <a:gd name="T86" fmla="*/ 324088 w 937"/>
                <a:gd name="T87" fmla="*/ 74702 h 326"/>
                <a:gd name="T88" fmla="*/ 282473 w 937"/>
                <a:gd name="T89" fmla="*/ 74702 h 326"/>
                <a:gd name="T90" fmla="*/ 359866 w 937"/>
                <a:gd name="T91" fmla="*/ 130780 h 326"/>
                <a:gd name="T92" fmla="*/ 385274 w 937"/>
                <a:gd name="T93" fmla="*/ 130780 h 326"/>
                <a:gd name="T94" fmla="*/ 385274 w 937"/>
                <a:gd name="T95" fmla="*/ 3293 h 326"/>
                <a:gd name="T96" fmla="*/ 359866 w 937"/>
                <a:gd name="T97" fmla="*/ 3293 h 326"/>
                <a:gd name="T98" fmla="*/ 359866 w 937"/>
                <a:gd name="T99" fmla="*/ 130780 h 326"/>
                <a:gd name="T100" fmla="*/ 117609 w 937"/>
                <a:gd name="T101" fmla="*/ 130780 h 326"/>
                <a:gd name="T102" fmla="*/ 143038 w 937"/>
                <a:gd name="T103" fmla="*/ 130780 h 326"/>
                <a:gd name="T104" fmla="*/ 143038 w 937"/>
                <a:gd name="T105" fmla="*/ 38214 h 326"/>
                <a:gd name="T106" fmla="*/ 117609 w 937"/>
                <a:gd name="T107" fmla="*/ 38214 h 326"/>
                <a:gd name="T108" fmla="*/ 117609 w 937"/>
                <a:gd name="T109" fmla="*/ 130780 h 326"/>
                <a:gd name="T110" fmla="*/ 117609 w 937"/>
                <a:gd name="T111" fmla="*/ 24127 h 326"/>
                <a:gd name="T112" fmla="*/ 143038 w 937"/>
                <a:gd name="T113" fmla="*/ 24127 h 326"/>
                <a:gd name="T114" fmla="*/ 143038 w 937"/>
                <a:gd name="T115" fmla="*/ 3293 h 326"/>
                <a:gd name="T116" fmla="*/ 117609 w 937"/>
                <a:gd name="T117" fmla="*/ 3293 h 326"/>
                <a:gd name="T118" fmla="*/ 117609 w 937"/>
                <a:gd name="T119" fmla="*/ 24127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A1EC13-EE16-4407-B4EF-554B89E85401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450924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A92EE19B-D156-4648-9083-1F2106C13D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A92EE19B-D156-4648-9083-1F2106C13D3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81644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355532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375229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968784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918908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1489076"/>
            <a:ext cx="7993063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527782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334800"/>
            <a:ext cx="7993063" cy="5650075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790330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6124575" y="3844925"/>
            <a:ext cx="2516188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652594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B8A9B5B2-5923-4D69-AB90-2ABF7B3567C2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9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B8A9B5B2-5923-4D69-AB90-2ABF7B3567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0220E04D-68E9-4630-A6AC-59890C31C4E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ACE36F5B-6D5D-465C-BE53-91F27D8F557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49171E63-CC51-4789-BEE3-958295FA299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DCBF4421-BC20-4B06-8993-F5D78731DFBF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9DF0F4F-4826-4E5C-95BF-C558D9228153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E1E3A287-ED78-4D1E-A18A-0BE8D3F1EBB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0407AA08-BE11-49DC-A916-452F9D8F63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27694F50-8847-46CC-AF63-73280E80F2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949AC342-91C7-45CA-A7BE-8C03F49B8D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F24772F-1776-41B6-B35F-9D0063217E83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1abe44a4ace52f3e73f617cc" descr="{&quot;HashCode&quot;:-1488328267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7A6CB49C-CA36-47C2-A41D-64EE3872938E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187430050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  <p:sldLayoutId id="2147483708" r:id="rId17"/>
    <p:sldLayoutId id="2147483709" r:id="rId18"/>
    <p:sldLayoutId id="2147483710" r:id="rId19"/>
    <p:sldLayoutId id="2147483711" r:id="rId20"/>
    <p:sldLayoutId id="2147483712" r:id="rId21"/>
    <p:sldLayoutId id="2147483713" r:id="rId2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2">
            <a:extLst>
              <a:ext uri="{FF2B5EF4-FFF2-40B4-BE49-F238E27FC236}">
                <a16:creationId xmlns:a16="http://schemas.microsoft.com/office/drawing/2014/main" id="{DDF07B9C-6857-4720-9580-6D46B016E08D}"/>
              </a:ext>
            </a:extLst>
          </p:cNvPr>
          <p:cNvGrpSpPr>
            <a:grpSpLocks/>
          </p:cNvGrpSpPr>
          <p:nvPr/>
        </p:nvGrpSpPr>
        <p:grpSpPr bwMode="auto">
          <a:xfrm>
            <a:off x="651885" y="1680780"/>
            <a:ext cx="7997390" cy="4226243"/>
            <a:chOff x="650875" y="1906363"/>
            <a:chExt cx="7991475" cy="4042393"/>
          </a:xfrm>
        </p:grpSpPr>
        <p:sp>
          <p:nvSpPr>
            <p:cNvPr id="14" name="Rechteck 3">
              <a:extLst>
                <a:ext uri="{FF2B5EF4-FFF2-40B4-BE49-F238E27FC236}">
                  <a16:creationId xmlns:a16="http://schemas.microsoft.com/office/drawing/2014/main" id="{17ED6647-1D43-4F26-9208-B8F20993AD05}"/>
                </a:ext>
              </a:extLst>
            </p:cNvPr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0" marR="0" lvl="0" indent="0" algn="l" defTabSz="862049" rtl="0" eaLnBrk="1" fontAlgn="auto" latinLnBrk="0" hangingPunct="1">
                <a:lnSpc>
                  <a:spcPct val="100000"/>
                </a:lnSpc>
                <a:spcBef>
                  <a:spcPts val="283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17" name="Rechteck 4">
              <a:extLst>
                <a:ext uri="{FF2B5EF4-FFF2-40B4-BE49-F238E27FC236}">
                  <a16:creationId xmlns:a16="http://schemas.microsoft.com/office/drawing/2014/main" id="{047B57BA-8F50-4693-9A54-489E8CA646E6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marR="0" lvl="0" indent="-323268" algn="l" defTabSz="862049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1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Rechteck 11">
              <a:extLst>
                <a:ext uri="{FF2B5EF4-FFF2-40B4-BE49-F238E27FC236}">
                  <a16:creationId xmlns:a16="http://schemas.microsoft.com/office/drawing/2014/main" id="{3EE4DACF-5B69-4CE5-82ED-68284FFEC58A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593" marR="0" lvl="0" indent="-179593" algn="l" defTabSz="862049" rtl="0" eaLnBrk="1" fontAlgn="base" latinLnBrk="0" hangingPunct="1">
                <a:lnSpc>
                  <a:spcPct val="100000"/>
                </a:lnSpc>
                <a:spcBef>
                  <a:spcPts val="283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9" name="Rechteck 12">
              <a:extLst>
                <a:ext uri="{FF2B5EF4-FFF2-40B4-BE49-F238E27FC236}">
                  <a16:creationId xmlns:a16="http://schemas.microsoft.com/office/drawing/2014/main" id="{F6D26BB8-C7F0-4B7D-81EA-8F97DDCB327E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marR="0" lvl="0" indent="-323268" algn="l" defTabSz="86204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1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ep the pace of electronics improvements</a:t>
            </a:r>
            <a:endParaRPr lang="fr-FR" dirty="0"/>
          </a:p>
        </p:txBody>
      </p:sp>
      <p:sp>
        <p:nvSpPr>
          <p:cNvPr id="16" name="Text Placeholder 2"/>
          <p:cNvSpPr txBox="1">
            <a:spLocks/>
          </p:cNvSpPr>
          <p:nvPr/>
        </p:nvSpPr>
        <p:spPr>
          <a:xfrm>
            <a:off x="669925" y="5979790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US" sz="800" kern="0" dirty="0"/>
              <a:t>Value: </a:t>
            </a:r>
            <a:r>
              <a:rPr lang="en-US" sz="800" kern="0" dirty="0">
                <a:solidFill>
                  <a:srgbClr val="000000"/>
                </a:solidFill>
              </a:rPr>
              <a:t>Efficiency</a:t>
            </a:r>
            <a:endParaRPr lang="en-US" sz="800" kern="0" dirty="0"/>
          </a:p>
          <a:p>
            <a:r>
              <a:rPr lang="en-US" sz="800" kern="0" dirty="0"/>
              <a:t>Equipment: Pal/</a:t>
            </a:r>
            <a:r>
              <a:rPr lang="en-US" sz="800" kern="0" dirty="0" err="1"/>
              <a:t>Depal</a:t>
            </a:r>
            <a:r>
              <a:rPr lang="en-US" sz="800" kern="0" dirty="0"/>
              <a:t> </a:t>
            </a:r>
          </a:p>
          <a:p>
            <a:r>
              <a:rPr lang="en-US" sz="800" kern="0"/>
              <a:t>Catalogue code: EOL029</a:t>
            </a:r>
            <a:endParaRPr lang="en-US" sz="800" kern="0" dirty="0"/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0804" y="4651995"/>
            <a:ext cx="1089657" cy="1190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0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4141" y="4651995"/>
            <a:ext cx="1726819" cy="1148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ttangolo 11">
            <a:extLst>
              <a:ext uri="{FF2B5EF4-FFF2-40B4-BE49-F238E27FC236}">
                <a16:creationId xmlns:a16="http://schemas.microsoft.com/office/drawing/2014/main" id="{C0CF5502-49D7-4B02-9212-84E6BE1157BE}"/>
              </a:ext>
            </a:extLst>
          </p:cNvPr>
          <p:cNvSpPr/>
          <p:nvPr/>
        </p:nvSpPr>
        <p:spPr>
          <a:xfrm>
            <a:off x="647127" y="2071627"/>
            <a:ext cx="3897012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endParaRPr lang="en-US" sz="1000" b="1" dirty="0"/>
          </a:p>
          <a:p>
            <a:pPr>
              <a:buClr>
                <a:schemeClr val="accent4"/>
              </a:buClr>
            </a:pPr>
            <a:r>
              <a:rPr lang="en-US" sz="1000" b="1" dirty="0"/>
              <a:t>Reliability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000" dirty="0"/>
              <a:t>Reduces installation and wiring times during obsolete devices replacement</a:t>
            </a:r>
            <a:endParaRPr lang="it-IT" sz="1000" dirty="0"/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it-IT" sz="1000" dirty="0" err="1"/>
              <a:t>Reduces</a:t>
            </a:r>
            <a:r>
              <a:rPr lang="it-IT" sz="1000" dirty="0"/>
              <a:t> supply </a:t>
            </a:r>
            <a:r>
              <a:rPr lang="it-IT" sz="1000" dirty="0" err="1"/>
              <a:t>times</a:t>
            </a:r>
            <a:endParaRPr lang="it-IT" sz="1000" dirty="0"/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it-IT" sz="1000" dirty="0" err="1"/>
              <a:t>Semplification</a:t>
            </a:r>
            <a:r>
              <a:rPr lang="it-IT" sz="1000" dirty="0"/>
              <a:t> of </a:t>
            </a:r>
            <a:r>
              <a:rPr lang="it-IT" sz="1000" dirty="0" err="1"/>
              <a:t>electronic</a:t>
            </a:r>
            <a:r>
              <a:rPr lang="it-IT" sz="1000" dirty="0"/>
              <a:t> </a:t>
            </a:r>
            <a:r>
              <a:rPr lang="it-IT" sz="1000" dirty="0" err="1"/>
              <a:t>architecture</a:t>
            </a:r>
            <a:endParaRPr lang="it-IT" sz="1000" dirty="0"/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it-IT" sz="1000" dirty="0" err="1"/>
              <a:t>Higher</a:t>
            </a:r>
            <a:r>
              <a:rPr lang="it-IT" sz="1000" dirty="0"/>
              <a:t> machine reliability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it-IT" sz="1000" dirty="0"/>
              <a:t>HW </a:t>
            </a:r>
            <a:r>
              <a:rPr lang="it-IT" sz="1000" dirty="0" err="1"/>
              <a:t>lower</a:t>
            </a:r>
            <a:r>
              <a:rPr lang="it-IT" sz="1000" dirty="0"/>
              <a:t> </a:t>
            </a:r>
            <a:r>
              <a:rPr lang="it-IT" sz="1000" dirty="0" err="1"/>
              <a:t>costs</a:t>
            </a:r>
            <a:endParaRPr lang="it-IT" sz="1000" dirty="0"/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it-IT" sz="1000" dirty="0" err="1"/>
              <a:t>Improves</a:t>
            </a:r>
            <a:r>
              <a:rPr lang="it-IT" sz="1000" dirty="0"/>
              <a:t> machine </a:t>
            </a:r>
            <a:r>
              <a:rPr lang="it-IT" sz="1000" dirty="0" err="1"/>
              <a:t>processes</a:t>
            </a:r>
            <a:endParaRPr lang="it-IT" sz="1000" dirty="0"/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it-IT" sz="1000" dirty="0" err="1"/>
              <a:t>Simplified</a:t>
            </a:r>
            <a:r>
              <a:rPr lang="it-IT" sz="1000" dirty="0"/>
              <a:t> </a:t>
            </a:r>
            <a:r>
              <a:rPr lang="it-IT" sz="1000" dirty="0" err="1"/>
              <a:t>connections</a:t>
            </a:r>
            <a:endParaRPr lang="it-IT" sz="1000" dirty="0"/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it-IT" sz="1000" dirty="0" err="1"/>
              <a:t>Flexible</a:t>
            </a:r>
            <a:r>
              <a:rPr lang="it-IT" sz="1000" dirty="0"/>
              <a:t> </a:t>
            </a:r>
            <a:r>
              <a:rPr lang="it-IT" sz="1000" dirty="0" err="1"/>
              <a:t>safety</a:t>
            </a:r>
            <a:r>
              <a:rPr lang="it-IT" sz="1000" dirty="0"/>
              <a:t> </a:t>
            </a:r>
            <a:r>
              <a:rPr lang="it-IT" sz="1000" dirty="0" err="1"/>
              <a:t>solution</a:t>
            </a:r>
            <a:endParaRPr lang="it-IT" sz="1000" dirty="0"/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000" dirty="0"/>
              <a:t>Touch panel and pads for the control</a:t>
            </a:r>
            <a:endParaRPr lang="it-IT" sz="1000" dirty="0"/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000" dirty="0" err="1"/>
              <a:t>Maximising</a:t>
            </a:r>
            <a:r>
              <a:rPr lang="en-US" sz="1000" dirty="0"/>
              <a:t> the energy and production efficiency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000" dirty="0" err="1"/>
              <a:t>Allow</a:t>
            </a:r>
            <a:r>
              <a:rPr lang="fr-FR" sz="1000" dirty="0"/>
              <a:t> </a:t>
            </a:r>
            <a:r>
              <a:rPr lang="fr-FR" sz="1000" dirty="0" err="1"/>
              <a:t>you</a:t>
            </a:r>
            <a:r>
              <a:rPr lang="fr-FR" sz="1000" dirty="0"/>
              <a:t> to </a:t>
            </a:r>
            <a:r>
              <a:rPr lang="fr-FR" sz="1000" dirty="0" err="1"/>
              <a:t>synchronize</a:t>
            </a:r>
            <a:r>
              <a:rPr lang="fr-FR" sz="1000" dirty="0"/>
              <a:t> up to 99 real </a:t>
            </a:r>
            <a:r>
              <a:rPr lang="fr-FR" sz="1000" dirty="0" err="1"/>
              <a:t>servos</a:t>
            </a:r>
            <a:r>
              <a:rPr lang="fr-FR" sz="1000" dirty="0"/>
              <a:t> (1ms cycle time) and up to 255 </a:t>
            </a:r>
            <a:r>
              <a:rPr lang="fr-FR" sz="1000" dirty="0" err="1"/>
              <a:t>virtual</a:t>
            </a:r>
            <a:r>
              <a:rPr lang="fr-FR" sz="1000" dirty="0"/>
              <a:t> axes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000" dirty="0"/>
              <a:t>It </a:t>
            </a:r>
            <a:r>
              <a:rPr lang="fr-FR" sz="1000" dirty="0" err="1"/>
              <a:t>allows</a:t>
            </a:r>
            <a:r>
              <a:rPr lang="fr-FR" sz="1000" dirty="0"/>
              <a:t> </a:t>
            </a:r>
            <a:r>
              <a:rPr lang="fr-FR" sz="1000" dirty="0" err="1"/>
              <a:t>transferring</a:t>
            </a:r>
            <a:r>
              <a:rPr lang="fr-FR" sz="1000" dirty="0"/>
              <a:t> the software </a:t>
            </a:r>
            <a:r>
              <a:rPr lang="fr-FR" sz="1000" dirty="0" err="1"/>
              <a:t>from</a:t>
            </a:r>
            <a:r>
              <a:rPr lang="fr-FR" sz="1000" dirty="0"/>
              <a:t> one platform to </a:t>
            </a:r>
            <a:r>
              <a:rPr lang="fr-FR" sz="1000" dirty="0" err="1"/>
              <a:t>another</a:t>
            </a:r>
            <a:r>
              <a:rPr lang="fr-FR" sz="1000" dirty="0"/>
              <a:t>.</a:t>
            </a:r>
            <a:endParaRPr lang="it-IT" sz="10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000" dirty="0"/>
          </a:p>
          <a:p>
            <a:pPr>
              <a:buClr>
                <a:schemeClr val="accent4"/>
              </a:buClr>
            </a:pPr>
            <a:endParaRPr lang="en-US" sz="1000" b="1" dirty="0"/>
          </a:p>
        </p:txBody>
      </p:sp>
      <p:sp>
        <p:nvSpPr>
          <p:cNvPr id="21" name="Rettangolo 11">
            <a:extLst>
              <a:ext uri="{FF2B5EF4-FFF2-40B4-BE49-F238E27FC236}">
                <a16:creationId xmlns:a16="http://schemas.microsoft.com/office/drawing/2014/main" id="{34BE8169-7803-43BE-9802-0670554A92A4}"/>
              </a:ext>
            </a:extLst>
          </p:cNvPr>
          <p:cNvSpPr/>
          <p:nvPr/>
        </p:nvSpPr>
        <p:spPr>
          <a:xfrm>
            <a:off x="4743751" y="2071627"/>
            <a:ext cx="3897012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endParaRPr lang="en-US" sz="1000" b="1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sz="1000" dirty="0" err="1"/>
              <a:t>Compared</a:t>
            </a:r>
            <a:r>
              <a:rPr lang="fr-FR" sz="1000" dirty="0"/>
              <a:t> to the M </a:t>
            </a:r>
            <a:r>
              <a:rPr lang="fr-FR" sz="1000" dirty="0" err="1"/>
              <a:t>series</a:t>
            </a:r>
            <a:r>
              <a:rPr lang="fr-FR" sz="1000" dirty="0"/>
              <a:t>, </a:t>
            </a:r>
            <a:r>
              <a:rPr lang="fr-FR" sz="1000" b="1" dirty="0"/>
              <a:t>PacDrive3</a:t>
            </a:r>
            <a:r>
              <a:rPr lang="fr-FR" sz="1000" dirty="0"/>
              <a:t> has been </a:t>
            </a:r>
            <a:r>
              <a:rPr lang="fr-FR" sz="1000" dirty="0" err="1"/>
              <a:t>enriched</a:t>
            </a:r>
            <a:r>
              <a:rPr lang="fr-FR" sz="1000" dirty="0"/>
              <a:t> </a:t>
            </a:r>
            <a:r>
              <a:rPr lang="fr-FR" sz="1000" dirty="0" err="1"/>
              <a:t>with</a:t>
            </a:r>
            <a:r>
              <a:rPr lang="fr-FR" sz="1000" dirty="0"/>
              <a:t> </a:t>
            </a:r>
            <a:r>
              <a:rPr lang="fr-FR" sz="1000" dirty="0" err="1"/>
              <a:t>numerous</a:t>
            </a:r>
            <a:r>
              <a:rPr lang="fr-FR" sz="1000" dirty="0"/>
              <a:t> hardware and software innovations </a:t>
            </a:r>
            <a:r>
              <a:rPr lang="fr-FR" sz="1000" dirty="0" err="1"/>
              <a:t>that</a:t>
            </a:r>
            <a:r>
              <a:rPr lang="fr-FR" sz="1000" dirty="0"/>
              <a:t> have been </a:t>
            </a:r>
            <a:r>
              <a:rPr lang="fr-FR" sz="1000" dirty="0" err="1"/>
              <a:t>developed</a:t>
            </a:r>
            <a:r>
              <a:rPr lang="fr-FR" sz="1000" dirty="0"/>
              <a:t> in </a:t>
            </a:r>
            <a:r>
              <a:rPr lang="fr-FR" sz="1000" dirty="0" err="1"/>
              <a:t>response</a:t>
            </a:r>
            <a:r>
              <a:rPr lang="fr-FR" sz="1000" dirty="0"/>
              <a:t> to the </a:t>
            </a:r>
            <a:r>
              <a:rPr lang="fr-FR" sz="1000" dirty="0" err="1"/>
              <a:t>functional</a:t>
            </a:r>
            <a:r>
              <a:rPr lang="fr-FR" sz="1000" dirty="0"/>
              <a:t> </a:t>
            </a:r>
            <a:r>
              <a:rPr lang="fr-FR" sz="1000" dirty="0" err="1"/>
              <a:t>requirements</a:t>
            </a:r>
            <a:r>
              <a:rPr lang="fr-FR" sz="1000" dirty="0"/>
              <a:t> of the packaging </a:t>
            </a:r>
            <a:r>
              <a:rPr lang="fr-FR" sz="1000" dirty="0" err="1"/>
              <a:t>industry</a:t>
            </a:r>
            <a:r>
              <a:rPr lang="fr-FR" sz="1000" dirty="0"/>
              <a:t>, the entry </a:t>
            </a:r>
            <a:r>
              <a:rPr lang="fr-FR" sz="1000" dirty="0" err="1"/>
              <a:t>level</a:t>
            </a:r>
            <a:r>
              <a:rPr lang="fr-FR" sz="1000" dirty="0"/>
              <a:t> </a:t>
            </a:r>
            <a:r>
              <a:rPr lang="fr-FR" sz="1000" dirty="0" err="1"/>
              <a:t>products</a:t>
            </a:r>
            <a:r>
              <a:rPr lang="fr-FR" sz="1000" dirty="0"/>
              <a:t> of the LMC range </a:t>
            </a:r>
            <a:r>
              <a:rPr lang="fr-FR" sz="1000" dirty="0" err="1"/>
              <a:t>allow</a:t>
            </a:r>
            <a:r>
              <a:rPr lang="fr-FR" sz="1000" dirty="0"/>
              <a:t> to </a:t>
            </a:r>
            <a:r>
              <a:rPr lang="fr-FR" sz="1000" dirty="0" err="1"/>
              <a:t>synchronize</a:t>
            </a:r>
            <a:r>
              <a:rPr lang="fr-FR" sz="1000" dirty="0"/>
              <a:t> up to four and </a:t>
            </a:r>
            <a:r>
              <a:rPr lang="fr-FR" sz="1000" dirty="0" err="1"/>
              <a:t>eight</a:t>
            </a:r>
            <a:r>
              <a:rPr lang="fr-FR" sz="1000" dirty="0"/>
              <a:t> axes </a:t>
            </a:r>
            <a:r>
              <a:rPr lang="fr-FR" sz="1000" dirty="0" err="1"/>
              <a:t>respectively</a:t>
            </a:r>
            <a:r>
              <a:rPr lang="fr-FR" sz="1000" dirty="0"/>
              <a:t>. </a:t>
            </a:r>
            <a:r>
              <a:rPr lang="fr-FR" sz="1000" dirty="0" err="1"/>
              <a:t>These</a:t>
            </a:r>
            <a:r>
              <a:rPr lang="fr-FR" sz="1000" dirty="0"/>
              <a:t> are </a:t>
            </a:r>
            <a:r>
              <a:rPr lang="fr-FR" sz="1000" dirty="0" err="1"/>
              <a:t>controllers</a:t>
            </a:r>
            <a:r>
              <a:rPr lang="fr-FR" sz="1000" dirty="0"/>
              <a:t> </a:t>
            </a:r>
            <a:r>
              <a:rPr lang="fr-FR" sz="1000" dirty="0" err="1"/>
              <a:t>designed</a:t>
            </a:r>
            <a:r>
              <a:rPr lang="fr-FR" sz="1000" dirty="0"/>
              <a:t> for </a:t>
            </a:r>
            <a:r>
              <a:rPr lang="fr-FR" sz="1000" dirty="0" err="1"/>
              <a:t>economical</a:t>
            </a:r>
            <a:r>
              <a:rPr lang="fr-FR" sz="1000" dirty="0"/>
              <a:t> and at the </a:t>
            </a:r>
            <a:r>
              <a:rPr lang="fr-FR" sz="1000" dirty="0" err="1"/>
              <a:t>same</a:t>
            </a:r>
            <a:r>
              <a:rPr lang="fr-FR" sz="1000" dirty="0"/>
              <a:t> time scalable automation solutions.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sz="1000" dirty="0"/>
              <a:t>A single </a:t>
            </a:r>
            <a:r>
              <a:rPr lang="fr-FR" sz="1000" dirty="0" err="1"/>
              <a:t>programming</a:t>
            </a:r>
            <a:r>
              <a:rPr lang="fr-FR" sz="1000" dirty="0"/>
              <a:t> </a:t>
            </a:r>
            <a:r>
              <a:rPr lang="fr-FR" sz="1000" dirty="0" err="1"/>
              <a:t>tool</a:t>
            </a:r>
            <a:r>
              <a:rPr lang="fr-FR" sz="1000" dirty="0"/>
              <a:t>, </a:t>
            </a:r>
            <a:r>
              <a:rPr lang="fr-FR" sz="1000" dirty="0" err="1"/>
              <a:t>that</a:t>
            </a:r>
            <a:r>
              <a:rPr lang="fr-FR" sz="1000" dirty="0"/>
              <a:t> </a:t>
            </a:r>
            <a:r>
              <a:rPr lang="fr-FR" sz="1000" dirty="0" err="1"/>
              <a:t>is</a:t>
            </a:r>
            <a:r>
              <a:rPr lang="fr-FR" sz="1000" dirty="0"/>
              <a:t>, a single program for </a:t>
            </a:r>
            <a:r>
              <a:rPr lang="fr-FR" sz="1000" dirty="0" err="1"/>
              <a:t>complete</a:t>
            </a:r>
            <a:r>
              <a:rPr lang="fr-FR" sz="1000" dirty="0"/>
              <a:t> machine management. </a:t>
            </a:r>
            <a:r>
              <a:rPr lang="fr-FR" sz="1000" dirty="0" err="1"/>
              <a:t>Fully</a:t>
            </a:r>
            <a:r>
              <a:rPr lang="fr-FR" sz="1000" dirty="0"/>
              <a:t> </a:t>
            </a:r>
            <a:r>
              <a:rPr lang="fr-FR" sz="1000" dirty="0" err="1"/>
              <a:t>integrated</a:t>
            </a:r>
            <a:r>
              <a:rPr lang="fr-FR" sz="1000" dirty="0"/>
              <a:t> Ethernet-</a:t>
            </a:r>
            <a:r>
              <a:rPr lang="fr-FR" sz="1000" dirty="0" err="1"/>
              <a:t>based</a:t>
            </a:r>
            <a:r>
              <a:rPr lang="fr-FR" sz="1000" dirty="0"/>
              <a:t> communication </a:t>
            </a:r>
            <a:r>
              <a:rPr lang="fr-FR" sz="1000" dirty="0" err="1"/>
              <a:t>with</a:t>
            </a:r>
            <a:r>
              <a:rPr lang="fr-FR" sz="1000" dirty="0"/>
              <a:t> </a:t>
            </a:r>
            <a:r>
              <a:rPr lang="fr-FR" sz="1000" dirty="0" err="1"/>
              <a:t>SercosIII.Tool</a:t>
            </a:r>
            <a:r>
              <a:rPr lang="fr-FR" sz="1000" dirty="0"/>
              <a:t> for the </a:t>
            </a:r>
            <a:r>
              <a:rPr lang="fr-FR" sz="1000" dirty="0" err="1"/>
              <a:t>entire</a:t>
            </a:r>
            <a:r>
              <a:rPr lang="fr-FR" sz="1000" dirty="0"/>
              <a:t> engineering, commissioning and diagnostic process </a:t>
            </a:r>
            <a:r>
              <a:rPr lang="fr-FR" sz="1000" dirty="0" err="1"/>
              <a:t>included</a:t>
            </a:r>
            <a:r>
              <a:rPr lang="fr-FR" sz="1000" dirty="0"/>
              <a:t>. </a:t>
            </a:r>
            <a:endParaRPr lang="it-IT" sz="4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000" dirty="0"/>
          </a:p>
          <a:p>
            <a:pPr>
              <a:buClr>
                <a:schemeClr val="accent4"/>
              </a:buClr>
            </a:pPr>
            <a:endParaRPr lang="en-US" sz="1000" b="1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B25C61E8-69CE-4C5D-A95E-7FC22DAD394D}"/>
              </a:ext>
            </a:extLst>
          </p:cNvPr>
          <p:cNvSpPr txBox="1">
            <a:spLocks/>
          </p:cNvSpPr>
          <p:nvPr/>
        </p:nvSpPr>
        <p:spPr bwMode="auto">
          <a:xfrm>
            <a:off x="647127" y="1391855"/>
            <a:ext cx="7539038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7800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ack Drive 3</a:t>
            </a:r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val="4296720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00</Words>
  <Application>Microsoft Office PowerPoint</Application>
  <PresentationFormat>On-screen Show (4:3)</PresentationFormat>
  <Paragraphs>2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SimSun</vt:lpstr>
      <vt:lpstr>Arial</vt:lpstr>
      <vt:lpstr>Wingdings</vt:lpstr>
      <vt:lpstr>NewSidel_Template_4x3_with add layouts</vt:lpstr>
      <vt:lpstr>think-cell Folie</vt:lpstr>
      <vt:lpstr>Keep the pace of electronics improvement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62</cp:revision>
  <cp:lastPrinted>2017-09-01T14:01:41Z</cp:lastPrinted>
  <dcterms:created xsi:type="dcterms:W3CDTF">2017-07-10T14:51:51Z</dcterms:created>
  <dcterms:modified xsi:type="dcterms:W3CDTF">2019-06-26T13:49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7200@sidel.com</vt:lpwstr>
  </property>
  <property fmtid="{D5CDD505-2E9C-101B-9397-08002B2CF9AE}" pid="8" name="MSIP_Label_94480757-a570-4f64-84e7-c5b3ffe9d573_SetDate">
    <vt:lpwstr>2019-06-26T15:49:55.8651607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